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89868-C15B-8E63-6B97-403413817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7BFC04-2A94-B725-9397-3468C9561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7BFC04-2A94-B725-9397-3468C9561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B9437E-B7A3-681C-724F-E2930EEEF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3C9195-54F1-4BF1-49FD-30F008784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7" name="Freeform 16">
            <a:extLst>
              <a:ext uri="{FF2B5EF4-FFF2-40B4-BE49-F238E27FC236}">
                <a16:creationId xmlns:a16="http://schemas.microsoft.com/office/drawing/2014/main" id="{F05259E0-69B5-5C84-FFAF-EF1B112255F2}"/>
              </a:ext>
            </a:extLst>
          </p:cNvPr>
          <p:cNvSpPr>
            <a:spLocks/>
          </p:cNvSpPr>
          <p:nvPr/>
        </p:nvSpPr>
        <p:spPr bwMode="auto">
          <a:xfrm>
            <a:off x="4163220" y="2010877"/>
            <a:ext cx="1661914" cy="3384029"/>
          </a:xfrm>
          <a:custGeom>
            <a:avLst/>
            <a:gdLst>
              <a:gd name="T0" fmla="*/ 839 w 886"/>
              <a:gd name="T1" fmla="*/ 0 h 1806"/>
              <a:gd name="T2" fmla="*/ 886 w 886"/>
              <a:gd name="T3" fmla="*/ 1806 h 1806"/>
              <a:gd name="T4" fmla="*/ 1 w 886"/>
              <a:gd name="T5" fmla="*/ 841 h 1806"/>
              <a:gd name="T6" fmla="*/ 839 w 886"/>
              <a:gd name="T7" fmla="*/ 0 h 1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86" h="1806">
                <a:moveTo>
                  <a:pt x="839" y="0"/>
                </a:moveTo>
                <a:cubicBezTo>
                  <a:pt x="886" y="1806"/>
                  <a:pt x="886" y="1806"/>
                  <a:pt x="886" y="1806"/>
                </a:cubicBezTo>
                <a:cubicBezTo>
                  <a:pt x="886" y="1806"/>
                  <a:pt x="0" y="1806"/>
                  <a:pt x="1" y="841"/>
                </a:cubicBezTo>
                <a:cubicBezTo>
                  <a:pt x="1" y="591"/>
                  <a:pt x="201" y="76"/>
                  <a:pt x="839" y="0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48" name="Freeform 17">
            <a:extLst>
              <a:ext uri="{FF2B5EF4-FFF2-40B4-BE49-F238E27FC236}">
                <a16:creationId xmlns:a16="http://schemas.microsoft.com/office/drawing/2014/main" id="{98D5301F-FA7B-19FD-AC94-B37DE3CDF5B3}"/>
              </a:ext>
            </a:extLst>
          </p:cNvPr>
          <p:cNvSpPr>
            <a:spLocks/>
          </p:cNvSpPr>
          <p:nvPr/>
        </p:nvSpPr>
        <p:spPr bwMode="auto">
          <a:xfrm>
            <a:off x="4766832" y="1961765"/>
            <a:ext cx="2206907" cy="3496514"/>
          </a:xfrm>
          <a:custGeom>
            <a:avLst/>
            <a:gdLst>
              <a:gd name="T0" fmla="*/ 1132 w 1177"/>
              <a:gd name="T1" fmla="*/ 885 h 1866"/>
              <a:gd name="T2" fmla="*/ 669 w 1177"/>
              <a:gd name="T3" fmla="*/ 1840 h 1866"/>
              <a:gd name="T4" fmla="*/ 45 w 1177"/>
              <a:gd name="T5" fmla="*/ 982 h 1866"/>
              <a:gd name="T6" fmla="*/ 507 w 1177"/>
              <a:gd name="T7" fmla="*/ 27 h 1866"/>
              <a:gd name="T8" fmla="*/ 1132 w 1177"/>
              <a:gd name="T9" fmla="*/ 885 h 1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77" h="1866">
                <a:moveTo>
                  <a:pt x="1132" y="885"/>
                </a:moveTo>
                <a:cubicBezTo>
                  <a:pt x="1177" y="1385"/>
                  <a:pt x="969" y="1813"/>
                  <a:pt x="669" y="1840"/>
                </a:cubicBezTo>
                <a:cubicBezTo>
                  <a:pt x="369" y="1866"/>
                  <a:pt x="89" y="1482"/>
                  <a:pt x="45" y="982"/>
                </a:cubicBezTo>
                <a:cubicBezTo>
                  <a:pt x="0" y="481"/>
                  <a:pt x="207" y="54"/>
                  <a:pt x="507" y="27"/>
                </a:cubicBezTo>
                <a:cubicBezTo>
                  <a:pt x="808" y="0"/>
                  <a:pt x="1087" y="384"/>
                  <a:pt x="1132" y="88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49" name="Freeform 18">
            <a:extLst>
              <a:ext uri="{FF2B5EF4-FFF2-40B4-BE49-F238E27FC236}">
                <a16:creationId xmlns:a16="http://schemas.microsoft.com/office/drawing/2014/main" id="{131B8E13-3845-4D55-E038-6743D0B57E48}"/>
              </a:ext>
            </a:extLst>
          </p:cNvPr>
          <p:cNvSpPr>
            <a:spLocks/>
          </p:cNvSpPr>
          <p:nvPr/>
        </p:nvSpPr>
        <p:spPr bwMode="auto">
          <a:xfrm>
            <a:off x="5159735" y="2864807"/>
            <a:ext cx="2290874" cy="1506654"/>
          </a:xfrm>
          <a:custGeom>
            <a:avLst/>
            <a:gdLst>
              <a:gd name="T0" fmla="*/ 0 w 1222"/>
              <a:gd name="T1" fmla="*/ 804 h 804"/>
              <a:gd name="T2" fmla="*/ 840 w 1222"/>
              <a:gd name="T3" fmla="*/ 0 h 804"/>
              <a:gd name="T4" fmla="*/ 1164 w 1222"/>
              <a:gd name="T5" fmla="*/ 142 h 804"/>
              <a:gd name="T6" fmla="*/ 444 w 1222"/>
              <a:gd name="T7" fmla="*/ 706 h 804"/>
              <a:gd name="T8" fmla="*/ 0 w 1222"/>
              <a:gd name="T9" fmla="*/ 804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2" h="804">
                <a:moveTo>
                  <a:pt x="0" y="804"/>
                </a:moveTo>
                <a:cubicBezTo>
                  <a:pt x="840" y="0"/>
                  <a:pt x="840" y="0"/>
                  <a:pt x="840" y="0"/>
                </a:cubicBezTo>
                <a:cubicBezTo>
                  <a:pt x="840" y="0"/>
                  <a:pt x="1138" y="38"/>
                  <a:pt x="1164" y="142"/>
                </a:cubicBezTo>
                <a:cubicBezTo>
                  <a:pt x="1164" y="142"/>
                  <a:pt x="1222" y="420"/>
                  <a:pt x="444" y="706"/>
                </a:cubicBezTo>
                <a:cubicBezTo>
                  <a:pt x="305" y="757"/>
                  <a:pt x="214" y="772"/>
                  <a:pt x="0" y="804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50" name="Freeform 19">
            <a:extLst>
              <a:ext uri="{FF2B5EF4-FFF2-40B4-BE49-F238E27FC236}">
                <a16:creationId xmlns:a16="http://schemas.microsoft.com/office/drawing/2014/main" id="{4FA2CB4A-8E98-64D0-9372-B55E59E9CC89}"/>
              </a:ext>
            </a:extLst>
          </p:cNvPr>
          <p:cNvSpPr>
            <a:spLocks/>
          </p:cNvSpPr>
          <p:nvPr/>
        </p:nvSpPr>
        <p:spPr bwMode="auto">
          <a:xfrm>
            <a:off x="5159735" y="3130966"/>
            <a:ext cx="2690113" cy="2179974"/>
          </a:xfrm>
          <a:custGeom>
            <a:avLst/>
            <a:gdLst>
              <a:gd name="T0" fmla="*/ 1164 w 1435"/>
              <a:gd name="T1" fmla="*/ 0 h 1163"/>
              <a:gd name="T2" fmla="*/ 582 w 1435"/>
              <a:gd name="T3" fmla="*/ 1075 h 1163"/>
              <a:gd name="T4" fmla="*/ 0 w 1435"/>
              <a:gd name="T5" fmla="*/ 662 h 1163"/>
              <a:gd name="T6" fmla="*/ 1164 w 1435"/>
              <a:gd name="T7" fmla="*/ 0 h 1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35" h="1163">
                <a:moveTo>
                  <a:pt x="1164" y="0"/>
                </a:moveTo>
                <a:cubicBezTo>
                  <a:pt x="1164" y="0"/>
                  <a:pt x="1435" y="846"/>
                  <a:pt x="582" y="1075"/>
                </a:cubicBezTo>
                <a:cubicBezTo>
                  <a:pt x="582" y="1075"/>
                  <a:pt x="129" y="1163"/>
                  <a:pt x="0" y="662"/>
                </a:cubicBezTo>
                <a:cubicBezTo>
                  <a:pt x="0" y="662"/>
                  <a:pt x="1115" y="473"/>
                  <a:pt x="11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1" name="Freeform 20">
            <a:extLst>
              <a:ext uri="{FF2B5EF4-FFF2-40B4-BE49-F238E27FC236}">
                <a16:creationId xmlns:a16="http://schemas.microsoft.com/office/drawing/2014/main" id="{D947A0F9-A9D5-2981-2918-8E6EDF68B71E}"/>
              </a:ext>
            </a:extLst>
          </p:cNvPr>
          <p:cNvSpPr>
            <a:spLocks/>
          </p:cNvSpPr>
          <p:nvPr/>
        </p:nvSpPr>
        <p:spPr bwMode="auto">
          <a:xfrm>
            <a:off x="4834956" y="2476657"/>
            <a:ext cx="1961343" cy="1768060"/>
          </a:xfrm>
          <a:custGeom>
            <a:avLst/>
            <a:gdLst>
              <a:gd name="T0" fmla="*/ 346 w 1046"/>
              <a:gd name="T1" fmla="*/ 44 h 943"/>
              <a:gd name="T2" fmla="*/ 1046 w 1046"/>
              <a:gd name="T3" fmla="*/ 592 h 943"/>
              <a:gd name="T4" fmla="*/ 241 w 1046"/>
              <a:gd name="T5" fmla="*/ 943 h 943"/>
              <a:gd name="T6" fmla="*/ 346 w 1046"/>
              <a:gd name="T7" fmla="*/ 44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46" h="943">
                <a:moveTo>
                  <a:pt x="346" y="44"/>
                </a:moveTo>
                <a:cubicBezTo>
                  <a:pt x="346" y="44"/>
                  <a:pt x="790" y="0"/>
                  <a:pt x="1046" y="592"/>
                </a:cubicBezTo>
                <a:cubicBezTo>
                  <a:pt x="1046" y="592"/>
                  <a:pt x="808" y="870"/>
                  <a:pt x="241" y="943"/>
                </a:cubicBezTo>
                <a:cubicBezTo>
                  <a:pt x="241" y="943"/>
                  <a:pt x="0" y="387"/>
                  <a:pt x="346" y="44"/>
                </a:cubicBez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2" name="Freeform 21">
            <a:extLst>
              <a:ext uri="{FF2B5EF4-FFF2-40B4-BE49-F238E27FC236}">
                <a16:creationId xmlns:a16="http://schemas.microsoft.com/office/drawing/2014/main" id="{E56CC082-42D7-7C95-71FA-CE09750A9F48}"/>
              </a:ext>
            </a:extLst>
          </p:cNvPr>
          <p:cNvSpPr>
            <a:spLocks/>
          </p:cNvSpPr>
          <p:nvPr/>
        </p:nvSpPr>
        <p:spPr bwMode="auto">
          <a:xfrm>
            <a:off x="5430647" y="2310307"/>
            <a:ext cx="1533586" cy="1275349"/>
          </a:xfrm>
          <a:custGeom>
            <a:avLst/>
            <a:gdLst>
              <a:gd name="T0" fmla="*/ 0 w 818"/>
              <a:gd name="T1" fmla="*/ 49 h 681"/>
              <a:gd name="T2" fmla="*/ 818 w 818"/>
              <a:gd name="T3" fmla="*/ 681 h 681"/>
              <a:gd name="T4" fmla="*/ 728 w 818"/>
              <a:gd name="T5" fmla="*/ 681 h 681"/>
              <a:gd name="T6" fmla="*/ 29 w 818"/>
              <a:gd name="T7" fmla="*/ 135 h 681"/>
              <a:gd name="T8" fmla="*/ 0 w 818"/>
              <a:gd name="T9" fmla="*/ 49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8" h="681">
                <a:moveTo>
                  <a:pt x="0" y="49"/>
                </a:moveTo>
                <a:cubicBezTo>
                  <a:pt x="0" y="49"/>
                  <a:pt x="568" y="0"/>
                  <a:pt x="818" y="681"/>
                </a:cubicBezTo>
                <a:cubicBezTo>
                  <a:pt x="728" y="681"/>
                  <a:pt x="728" y="681"/>
                  <a:pt x="728" y="681"/>
                </a:cubicBezTo>
                <a:cubicBezTo>
                  <a:pt x="728" y="681"/>
                  <a:pt x="535" y="148"/>
                  <a:pt x="29" y="135"/>
                </a:cubicBezTo>
                <a:cubicBezTo>
                  <a:pt x="0" y="49"/>
                  <a:pt x="0" y="49"/>
                  <a:pt x="0" y="49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3" name="Freeform 22">
            <a:extLst>
              <a:ext uri="{FF2B5EF4-FFF2-40B4-BE49-F238E27FC236}">
                <a16:creationId xmlns:a16="http://schemas.microsoft.com/office/drawing/2014/main" id="{E55EF0E7-C08D-CD04-4907-4569095E8A22}"/>
              </a:ext>
            </a:extLst>
          </p:cNvPr>
          <p:cNvSpPr>
            <a:spLocks/>
          </p:cNvSpPr>
          <p:nvPr/>
        </p:nvSpPr>
        <p:spPr bwMode="auto">
          <a:xfrm>
            <a:off x="5428271" y="2231886"/>
            <a:ext cx="1799746" cy="1356147"/>
          </a:xfrm>
          <a:custGeom>
            <a:avLst/>
            <a:gdLst>
              <a:gd name="T0" fmla="*/ 0 w 960"/>
              <a:gd name="T1" fmla="*/ 92 h 724"/>
              <a:gd name="T2" fmla="*/ 238 w 960"/>
              <a:gd name="T3" fmla="*/ 2 h 724"/>
              <a:gd name="T4" fmla="*/ 923 w 960"/>
              <a:gd name="T5" fmla="*/ 531 h 724"/>
              <a:gd name="T6" fmla="*/ 820 w 960"/>
              <a:gd name="T7" fmla="*/ 724 h 724"/>
              <a:gd name="T8" fmla="*/ 0 w 960"/>
              <a:gd name="T9" fmla="*/ 92 h 7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0" h="724">
                <a:moveTo>
                  <a:pt x="0" y="92"/>
                </a:moveTo>
                <a:cubicBezTo>
                  <a:pt x="0" y="92"/>
                  <a:pt x="70" y="0"/>
                  <a:pt x="238" y="2"/>
                </a:cubicBezTo>
                <a:cubicBezTo>
                  <a:pt x="456" y="4"/>
                  <a:pt x="796" y="135"/>
                  <a:pt x="923" y="531"/>
                </a:cubicBezTo>
                <a:cubicBezTo>
                  <a:pt x="923" y="531"/>
                  <a:pt x="960" y="584"/>
                  <a:pt x="820" y="724"/>
                </a:cubicBezTo>
                <a:cubicBezTo>
                  <a:pt x="820" y="724"/>
                  <a:pt x="604" y="76"/>
                  <a:pt x="0" y="92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FB54A-2B18-1EA4-0399-A0C71C06FEED}"/>
              </a:ext>
            </a:extLst>
          </p:cNvPr>
          <p:cNvCxnSpPr/>
          <p:nvPr/>
        </p:nvCxnSpPr>
        <p:spPr>
          <a:xfrm>
            <a:off x="7084943" y="2358270"/>
            <a:ext cx="872589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641231E-3F3B-CAF0-D468-17E15312B91E}"/>
              </a:ext>
            </a:extLst>
          </p:cNvPr>
          <p:cNvCxnSpPr/>
          <p:nvPr/>
        </p:nvCxnSpPr>
        <p:spPr>
          <a:xfrm flipH="1">
            <a:off x="3908941" y="2358270"/>
            <a:ext cx="675273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EC468AB-8593-074B-F45C-FB8FA94DDDFE}"/>
              </a:ext>
            </a:extLst>
          </p:cNvPr>
          <p:cNvCxnSpPr/>
          <p:nvPr/>
        </p:nvCxnSpPr>
        <p:spPr>
          <a:xfrm flipV="1">
            <a:off x="7084943" y="4877382"/>
            <a:ext cx="872589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3184D0C-07DA-ADAC-9572-12049B8B97EC}"/>
              </a:ext>
            </a:extLst>
          </p:cNvPr>
          <p:cNvCxnSpPr/>
          <p:nvPr/>
        </p:nvCxnSpPr>
        <p:spPr>
          <a:xfrm flipH="1" flipV="1">
            <a:off x="3908941" y="4877381"/>
            <a:ext cx="1001017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AF08028-F96F-F54E-64A7-D418D1854824}"/>
              </a:ext>
            </a:extLst>
          </p:cNvPr>
          <p:cNvSpPr txBox="1"/>
          <p:nvPr/>
        </p:nvSpPr>
        <p:spPr>
          <a:xfrm flipH="1">
            <a:off x="8198163" y="20463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73AF76-5AFD-6F1D-5637-549A75EBE193}"/>
              </a:ext>
            </a:extLst>
          </p:cNvPr>
          <p:cNvSpPr/>
          <p:nvPr/>
        </p:nvSpPr>
        <p:spPr>
          <a:xfrm flipH="1">
            <a:off x="8198162" y="2270074"/>
            <a:ext cx="3253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200" dirty="0">
              <a:solidFill>
                <a:schemeClr val="tx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ounded Rectangle 30">
            <a:extLst>
              <a:ext uri="{FF2B5EF4-FFF2-40B4-BE49-F238E27FC236}">
                <a16:creationId xmlns:a16="http://schemas.microsoft.com/office/drawing/2014/main" id="{5F40F2A3-7DA7-60B8-F62E-C525FC99C68D}"/>
              </a:ext>
            </a:extLst>
          </p:cNvPr>
          <p:cNvSpPr/>
          <p:nvPr/>
        </p:nvSpPr>
        <p:spPr>
          <a:xfrm rot="16200000" flipH="1">
            <a:off x="8006878" y="2234762"/>
            <a:ext cx="276208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5" name="Rounded Rectangle 31">
            <a:extLst>
              <a:ext uri="{FF2B5EF4-FFF2-40B4-BE49-F238E27FC236}">
                <a16:creationId xmlns:a16="http://schemas.microsoft.com/office/drawing/2014/main" id="{33689D13-F386-BA1D-D5B5-55DD67C472A4}"/>
              </a:ext>
            </a:extLst>
          </p:cNvPr>
          <p:cNvSpPr/>
          <p:nvPr/>
        </p:nvSpPr>
        <p:spPr>
          <a:xfrm rot="16200000" flipH="1">
            <a:off x="8088786" y="2453038"/>
            <a:ext cx="112393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6" name="Rounded Rectangle 32">
            <a:extLst>
              <a:ext uri="{FF2B5EF4-FFF2-40B4-BE49-F238E27FC236}">
                <a16:creationId xmlns:a16="http://schemas.microsoft.com/office/drawing/2014/main" id="{AACADB74-5A2B-A134-36BA-3421FAB1E33F}"/>
              </a:ext>
            </a:extLst>
          </p:cNvPr>
          <p:cNvSpPr/>
          <p:nvPr/>
        </p:nvSpPr>
        <p:spPr>
          <a:xfrm rot="16200000" flipH="1">
            <a:off x="8116884" y="2561234"/>
            <a:ext cx="56196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6E84C20-CD9C-F3DD-DE79-4325E90FF5BD}"/>
              </a:ext>
            </a:extLst>
          </p:cNvPr>
          <p:cNvSpPr txBox="1"/>
          <p:nvPr/>
        </p:nvSpPr>
        <p:spPr>
          <a:xfrm flipH="1">
            <a:off x="8216782" y="4560469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59511D4-F2A9-D693-4BC5-96CB326000FC}"/>
              </a:ext>
            </a:extLst>
          </p:cNvPr>
          <p:cNvSpPr/>
          <p:nvPr/>
        </p:nvSpPr>
        <p:spPr>
          <a:xfrm flipH="1">
            <a:off x="8216781" y="4784188"/>
            <a:ext cx="32353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Rounded Rectangle 39">
            <a:extLst>
              <a:ext uri="{FF2B5EF4-FFF2-40B4-BE49-F238E27FC236}">
                <a16:creationId xmlns:a16="http://schemas.microsoft.com/office/drawing/2014/main" id="{09BBC489-E92E-9A43-C573-FB25CDC3EF76}"/>
              </a:ext>
            </a:extLst>
          </p:cNvPr>
          <p:cNvSpPr/>
          <p:nvPr/>
        </p:nvSpPr>
        <p:spPr>
          <a:xfrm rot="16200000" flipH="1">
            <a:off x="8030331" y="4750430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0" name="Rounded Rectangle 40">
            <a:extLst>
              <a:ext uri="{FF2B5EF4-FFF2-40B4-BE49-F238E27FC236}">
                <a16:creationId xmlns:a16="http://schemas.microsoft.com/office/drawing/2014/main" id="{F4F61E47-2537-C147-ACE7-F56A12037C29}"/>
              </a:ext>
            </a:extLst>
          </p:cNvPr>
          <p:cNvSpPr/>
          <p:nvPr/>
        </p:nvSpPr>
        <p:spPr>
          <a:xfrm rot="16200000" flipH="1">
            <a:off x="8112239" y="4968706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1" name="Rounded Rectangle 41">
            <a:extLst>
              <a:ext uri="{FF2B5EF4-FFF2-40B4-BE49-F238E27FC236}">
                <a16:creationId xmlns:a16="http://schemas.microsoft.com/office/drawing/2014/main" id="{DB3522D3-C971-B73F-3321-F0F2ECDB0DB0}"/>
              </a:ext>
            </a:extLst>
          </p:cNvPr>
          <p:cNvSpPr/>
          <p:nvPr/>
        </p:nvSpPr>
        <p:spPr>
          <a:xfrm rot="16200000" flipH="1">
            <a:off x="8140337" y="5076902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871C42-C4BE-03BF-58B1-3BB42671FE6B}"/>
              </a:ext>
            </a:extLst>
          </p:cNvPr>
          <p:cNvSpPr txBox="1"/>
          <p:nvPr/>
        </p:nvSpPr>
        <p:spPr>
          <a:xfrm>
            <a:off x="2687514" y="20463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5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2E1CE8-BAA3-EB3D-A27A-D24D655B9FEB}"/>
              </a:ext>
            </a:extLst>
          </p:cNvPr>
          <p:cNvSpPr/>
          <p:nvPr/>
        </p:nvSpPr>
        <p:spPr>
          <a:xfrm>
            <a:off x="419099" y="2270074"/>
            <a:ext cx="3235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Rounded Rectangle 46">
            <a:extLst>
              <a:ext uri="{FF2B5EF4-FFF2-40B4-BE49-F238E27FC236}">
                <a16:creationId xmlns:a16="http://schemas.microsoft.com/office/drawing/2014/main" id="{39E0B217-AE00-DD18-331D-F69A1FE7BB75}"/>
              </a:ext>
            </a:extLst>
          </p:cNvPr>
          <p:cNvSpPr/>
          <p:nvPr/>
        </p:nvSpPr>
        <p:spPr>
          <a:xfrm rot="5400000">
            <a:off x="3564687" y="2234499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5" name="Rounded Rectangle 47">
            <a:extLst>
              <a:ext uri="{FF2B5EF4-FFF2-40B4-BE49-F238E27FC236}">
                <a16:creationId xmlns:a16="http://schemas.microsoft.com/office/drawing/2014/main" id="{F50A1D2D-AB93-A1DC-9C78-DF5F78817362}"/>
              </a:ext>
            </a:extLst>
          </p:cNvPr>
          <p:cNvSpPr/>
          <p:nvPr/>
        </p:nvSpPr>
        <p:spPr>
          <a:xfrm rot="5400000">
            <a:off x="3646595" y="2452775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6" name="Rounded Rectangle 48">
            <a:extLst>
              <a:ext uri="{FF2B5EF4-FFF2-40B4-BE49-F238E27FC236}">
                <a16:creationId xmlns:a16="http://schemas.microsoft.com/office/drawing/2014/main" id="{7F623F06-7385-1E87-8515-ADF1F1C9FF8D}"/>
              </a:ext>
            </a:extLst>
          </p:cNvPr>
          <p:cNvSpPr/>
          <p:nvPr/>
        </p:nvSpPr>
        <p:spPr>
          <a:xfrm rot="5400000">
            <a:off x="3674693" y="2560971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D40065-A927-493D-0859-7E7A2A93B658}"/>
              </a:ext>
            </a:extLst>
          </p:cNvPr>
          <p:cNvSpPr txBox="1"/>
          <p:nvPr/>
        </p:nvSpPr>
        <p:spPr>
          <a:xfrm>
            <a:off x="2731466" y="4560469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FCF5A6-E99B-4B79-5DD9-F135B2A44800}"/>
              </a:ext>
            </a:extLst>
          </p:cNvPr>
          <p:cNvSpPr/>
          <p:nvPr/>
        </p:nvSpPr>
        <p:spPr>
          <a:xfrm>
            <a:off x="463051" y="4784188"/>
            <a:ext cx="3235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ounded Rectangle 53">
            <a:extLst>
              <a:ext uri="{FF2B5EF4-FFF2-40B4-BE49-F238E27FC236}">
                <a16:creationId xmlns:a16="http://schemas.microsoft.com/office/drawing/2014/main" id="{97B92482-96AA-F47E-3092-33F262704BD4}"/>
              </a:ext>
            </a:extLst>
          </p:cNvPr>
          <p:cNvSpPr/>
          <p:nvPr/>
        </p:nvSpPr>
        <p:spPr>
          <a:xfrm rot="5400000">
            <a:off x="3608639" y="4748613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0" name="Rounded Rectangle 54">
            <a:extLst>
              <a:ext uri="{FF2B5EF4-FFF2-40B4-BE49-F238E27FC236}">
                <a16:creationId xmlns:a16="http://schemas.microsoft.com/office/drawing/2014/main" id="{B52EC2BE-8215-78D9-1AE6-CC19A370B589}"/>
              </a:ext>
            </a:extLst>
          </p:cNvPr>
          <p:cNvSpPr/>
          <p:nvPr/>
        </p:nvSpPr>
        <p:spPr>
          <a:xfrm rot="5400000">
            <a:off x="3690547" y="4966889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1" name="Rounded Rectangle 55">
            <a:extLst>
              <a:ext uri="{FF2B5EF4-FFF2-40B4-BE49-F238E27FC236}">
                <a16:creationId xmlns:a16="http://schemas.microsoft.com/office/drawing/2014/main" id="{1410C250-A202-B570-AEC8-5157068E6D02}"/>
              </a:ext>
            </a:extLst>
          </p:cNvPr>
          <p:cNvSpPr/>
          <p:nvPr/>
        </p:nvSpPr>
        <p:spPr>
          <a:xfrm rot="5400000">
            <a:off x="3718645" y="5075085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616689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6</TotalTime>
  <Words>7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Open Sans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6</cp:revision>
  <dcterms:created xsi:type="dcterms:W3CDTF">2021-03-31T02:49:57Z</dcterms:created>
  <dcterms:modified xsi:type="dcterms:W3CDTF">2025-10-15T03:18:00Z</dcterms:modified>
  <cp:category/>
</cp:coreProperties>
</file>